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146846968" r:id="rId2"/>
    <p:sldId id="2146846976" r:id="rId3"/>
    <p:sldId id="2146846952" r:id="rId4"/>
    <p:sldId id="2146846979" r:id="rId5"/>
    <p:sldId id="214684697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7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1EBD73-8592-4358-8AA6-B3CB086B9736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89EEE-DABC-40B3-A041-174D6B940E5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90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 questions include:</a:t>
            </a:r>
            <a:endParaRPr lang="en-US" sz="1100" i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1"/>
            <a:r>
              <a:rPr lang="en-US" sz="9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 the way that Lumen and Columbus interact today changing?</a:t>
            </a:r>
          </a:p>
          <a:p>
            <a:pPr lvl="1"/>
            <a:r>
              <a:rPr lang="en-US" sz="900"/>
              <a:t>Is how I do my job today changing?</a:t>
            </a:r>
          </a:p>
          <a:p>
            <a:pPr lvl="1"/>
            <a:r>
              <a:rPr lang="en-US" sz="900"/>
              <a:t>Is there an interim process in place to support Day 1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C51E72-025F-49C8-882A-B0132C5AF9E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985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4FDA0-F78B-6A45-B4C0-3942B58FC5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538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0D11AF-6679-44BD-B35E-BC97F4D912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21EAB1F-6381-4CA6-AE25-2C436C4CE8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40D4607-A5AF-4FA2-8C8C-7934A7E1A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8E92E7B-0201-4F4F-96FD-F5A140E6E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418554-9F47-4474-AEA2-9638D0040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890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CD76F83-9EA7-449D-B208-00E84224F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8A23B8E-82F1-4B3A-8021-D40DD6F604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DD8D903-DBA0-4923-97C8-56A3726E8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BACC051-CD8E-4D5B-BC00-88E890C7E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B96E514-2915-4B88-AB07-BEAD1C4E5E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213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A47D551-C0A0-4F08-835F-69166D149F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FF20FBF-F828-4CFC-8ADA-F3447E6064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E9D3E39-81D2-403E-BDA1-6A3520E6E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A698598-51F5-4351-A75D-F2599D174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05DA84F-00CF-4050-85C3-BE067E876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404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2B8987A-82EB-D44E-9038-DC7BCDC8187D}"/>
              </a:ext>
            </a:extLst>
          </p:cNvPr>
          <p:cNvSpPr/>
          <p:nvPr userDrawn="1"/>
        </p:nvSpPr>
        <p:spPr>
          <a:xfrm>
            <a:off x="0" y="1"/>
            <a:ext cx="1218703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D71307-B703-F04A-BB8F-78E96B9B0C0D}"/>
              </a:ext>
            </a:extLst>
          </p:cNvPr>
          <p:cNvSpPr/>
          <p:nvPr userDrawn="1"/>
        </p:nvSpPr>
        <p:spPr>
          <a:xfrm>
            <a:off x="0" y="1885014"/>
            <a:ext cx="239843" cy="3067985"/>
          </a:xfrm>
          <a:prstGeom prst="rect">
            <a:avLst/>
          </a:prstGeom>
          <a:solidFill>
            <a:srgbClr val="38C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3440" y="2778456"/>
            <a:ext cx="10515600" cy="1301085"/>
          </a:xfrm>
        </p:spPr>
        <p:txBody>
          <a:bodyPr anchor="ctr">
            <a:noAutofit/>
          </a:bodyPr>
          <a:lstStyle>
            <a:lvl1pPr algn="ctr">
              <a:defRPr sz="4267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243FAE-C295-9F4A-81C0-AF1DDD2CE7C2}"/>
              </a:ext>
            </a:extLst>
          </p:cNvPr>
          <p:cNvSpPr/>
          <p:nvPr userDrawn="1"/>
        </p:nvSpPr>
        <p:spPr>
          <a:xfrm>
            <a:off x="882968" y="6450379"/>
            <a:ext cx="3969203" cy="21544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1 Lumen Technologies. All Rights Reserved. </a:t>
            </a:r>
          </a:p>
        </p:txBody>
      </p:sp>
      <p:pic>
        <p:nvPicPr>
          <p:cNvPr id="8" name="Picture 7" descr="A picture containing clock&#10;&#10;Description automatically generated">
            <a:extLst>
              <a:ext uri="{FF2B5EF4-FFF2-40B4-BE49-F238E27FC236}">
                <a16:creationId xmlns:a16="http://schemas.microsoft.com/office/drawing/2014/main" id="{62F6D15D-53D4-3F40-A3CC-476CB2680B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2883" y="6237970"/>
            <a:ext cx="2137832" cy="56718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A933E5F-76F0-DF4B-94B7-2B41A2CCB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9919" y="6389720"/>
            <a:ext cx="5296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6AF6406-B3F2-AD48-99A2-24C88CF40A2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145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88;p17">
            <a:extLst>
              <a:ext uri="{FF2B5EF4-FFF2-40B4-BE49-F238E27FC236}">
                <a16:creationId xmlns:a16="http://schemas.microsoft.com/office/drawing/2014/main" id="{4BED3398-50B2-204B-8F76-E3433308D8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>
                <a:solidFill>
                  <a:schemeClr val="bg1">
                    <a:lumMod val="85000"/>
                  </a:schemeClr>
                </a:solidFill>
                <a:latin typeface="Roboto" panose="02000000000000000000" pitchFamily="2" charset="0"/>
              </a:rPr>
              <a:t> </a:t>
            </a:r>
            <a:endParaRPr sz="1800" b="0" i="0">
              <a:solidFill>
                <a:schemeClr val="bg1">
                  <a:lumMod val="85000"/>
                </a:schemeClr>
              </a:solidFill>
              <a:latin typeface="Roboto" panose="02000000000000000000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DBB7FA1-9C57-A44A-A592-9E4D3DB69B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7737" y="1603751"/>
            <a:ext cx="10371391" cy="793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US"/>
              <a:t>Content goes her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ED5658-0C28-4443-B358-85BC0726A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7736" y="885561"/>
            <a:ext cx="10371139" cy="6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 b="0" i="0">
                <a:solidFill>
                  <a:srgbClr val="0072C6"/>
                </a:solidFill>
                <a:latin typeface="Roboto Thin" panose="02000000000000000000" pitchFamily="2" charset="0"/>
                <a:ea typeface="Roboto Thin" panose="02000000000000000000" pitchFamily="2" charset="0"/>
                <a:cs typeface="Roboto Thin" panose="02000000000000000000" pitchFamily="2" charset="0"/>
              </a:defRPr>
            </a:lvl1pPr>
            <a:lvl2pPr marL="457178" indent="0"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marL="914354" indent="0">
              <a:buFont typeface="Arial" panose="020B0604020202020204" pitchFamily="34" charset="0"/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 marL="1371532" indent="0"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 marL="1828709" indent="0">
              <a:buFont typeface="Arial" panose="020B0604020202020204" pitchFamily="34" charset="0"/>
              <a:buNone/>
              <a:defRPr b="0" i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Head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17775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pos="5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6A9991-995A-419D-9883-1C1B26F7E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F3FE950-67BD-4977-82B0-B03F20CF99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DEA8632-112A-4050-AE16-2D953C20D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77C2513-0403-419D-98B0-5491652ED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AF2A7E7-DECD-4F9C-A7E0-D700FBD7C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6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A76489-2002-40D0-AD7F-2E9486573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EF07660-6485-43BA-9F11-A7DF3B468E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ECB7F64-5D23-4EAD-A02C-976734499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913964C-82FB-4A15-A713-46A983F54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9EE7D9D-78D7-4DD4-9134-BC6FA149E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7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86D9E7-CC95-4BB7-9A20-5A4AF5115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71EC28C-2999-4581-A297-F63842E3C4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A79BB95-0C68-45A9-9C70-8560C87F0E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74D12E1-F43F-4935-8CEA-B2C89E70A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4B2BBBD-3518-4824-8DA8-7D769214A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FD2A3C5-FA36-4CC2-AC2C-530B93153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160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F9004B-68C6-4966-8EE7-51E41A237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F0A66D5-D5C6-43C2-836E-A446490491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508F6E6-1762-49ED-B8A9-55BFBD8010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A7B08D-C150-42D5-AE48-80417233E7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9EE1C08-A4C3-4941-81FE-00C681F498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04804D84-BEF4-4CF2-B34A-9A86AA324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260900F-2CE6-431D-A9B7-0C7478886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56073EAC-6198-422F-B226-9D4F99614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597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840735-07A7-428C-BFD9-3501F8949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9255C8F-1ED5-4FA6-9BE6-1BEA4488AA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1A3568E-1F18-42A0-8D98-D71FD7FD5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AC3FA97-5E4E-4CA8-934A-CE3C23704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58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C2C7654-83B9-48EE-974E-7085EA7C4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DD41929C-18B0-4BB7-8694-1E7630274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8883B01-95F8-4EA6-A40D-9D8D283D9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216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1BE2CC-18BC-4237-8960-54ABD09E6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4594E06-EB5F-40C0-B22B-C0856123B8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D04F564-D90C-4074-9458-FD006E304C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5C4456C-D220-4BF1-9BFD-C59C359F7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3F7637B-61F1-416F-B1E2-847142BED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56F3163-CD9E-47B5-9E27-CE506017C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814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6F92AE-3248-400A-BB6E-AF47104D7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6CE0CA03-342B-440B-8093-5164385E0A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422DEB3-1C8C-4831-A633-140F225C9F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BC19059-E2CE-4B65-859E-1A3813A72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1B52736-AD48-4AFF-A853-A3CA4B16AE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696776A-ECDE-4266-9623-2A90277B7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837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B8F4814-4C8A-4667-B3D5-9F7761B5E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8918B5E-6731-4D41-8DB6-EE4B7DE601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85CB39-81AC-4697-974C-AA7B1940A0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777FD5-0181-434C-A3D4-C45E8B4D6EDA}" type="datetimeFigureOut">
              <a:rPr lang="en-US" smtClean="0"/>
              <a:t>10/12/2021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B2284AC-7713-485C-9120-6B517F762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FEE8574-7D98-4429-9307-547B9091B2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85BEEF-8405-425D-B722-54F8583686F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04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C434E2-64B3-4E21-BAB9-BF0C37715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C434E2-64B3-4E21-BAB9-BF0C37715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36BF9477-91F2-4E12-A14F-B6CA9178C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Operating Playbook Guid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898CFD-8C86-4861-8FE2-0350A0AA8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AF6406-B3F2-AD48-99A2-24C88CF40A2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05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AB22B7-8BC0-43D1-AEA8-2162699612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04" imgH="204" progId="TCLayout.ActiveDocument.1">
                  <p:embed/>
                </p:oleObj>
              </mc:Choice>
              <mc:Fallback>
                <p:oleObj name="think-cell Slide" r:id="rId4" imgW="204" imgH="20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AB22B7-8BC0-43D1-AEA8-216269961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3B08B00-02B7-4CF3-AFF5-C04854904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b="1"/>
              <a:t>Operating Playbook Guidance</a:t>
            </a:r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DE66B0-9516-4D09-99F8-E95EAE0152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322643"/>
            <a:ext cx="10972799" cy="514639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67" b="1" u="sng"/>
              <a:t>Objective: </a:t>
            </a:r>
          </a:p>
          <a:p>
            <a:r>
              <a:rPr lang="en-US" sz="1467"/>
              <a:t>The Operating Playbooks should provide detailed methods and procedures for </a:t>
            </a:r>
            <a:r>
              <a:rPr lang="en-US" sz="1467" i="1"/>
              <a:t>how to operationalize areas of change</a:t>
            </a:r>
          </a:p>
          <a:p>
            <a:pPr marL="228594" indent="-228594"/>
            <a:r>
              <a:rPr lang="en-US" sz="1467"/>
              <a:t>The level of detail should be sufficient that anyone using the playbook can clearly follow the steps </a:t>
            </a:r>
          </a:p>
          <a:p>
            <a:r>
              <a:rPr lang="en-US" sz="1467"/>
              <a:t>For Network, Operations and any processes related to entangled customers the Operating Playbooks will be reviewed by the buyer to confirm Day 1 readiness prior to sign off of the commercial agreements</a:t>
            </a:r>
          </a:p>
          <a:p>
            <a:pPr marL="0" indent="0">
              <a:buNone/>
            </a:pPr>
            <a:r>
              <a:rPr lang="en-US" sz="1467" b="1" u="sng"/>
              <a:t>The playbook should include:</a:t>
            </a:r>
            <a:endParaRPr lang="en-US" sz="1467" b="1"/>
          </a:p>
          <a:p>
            <a:r>
              <a:rPr lang="en-US" sz="1467"/>
              <a:t>Detailed step-by-step assumptions including roles and responsibilities for areas of change and supporting process flows</a:t>
            </a:r>
          </a:p>
          <a:p>
            <a:pPr lvl="1"/>
            <a:r>
              <a:rPr lang="en-US" sz="1200"/>
              <a:t>Systems, applications and tools required</a:t>
            </a:r>
          </a:p>
          <a:p>
            <a:pPr lvl="1"/>
            <a:r>
              <a:rPr lang="en-US" sz="1200"/>
              <a:t>SLAs and commitments, if applicable</a:t>
            </a:r>
          </a:p>
          <a:p>
            <a:pPr lvl="1"/>
            <a:r>
              <a:rPr lang="en-US" sz="1200"/>
              <a:t>Escalation path</a:t>
            </a:r>
          </a:p>
          <a:p>
            <a:pPr lvl="1"/>
            <a:r>
              <a:rPr lang="en-US" sz="1200"/>
              <a:t>Method of communication </a:t>
            </a:r>
          </a:p>
          <a:p>
            <a:r>
              <a:rPr lang="en-US" sz="1467"/>
              <a:t>For areas where nothing is changing from the current state, please document that nothing is changing for completeness</a:t>
            </a:r>
          </a:p>
          <a:p>
            <a:r>
              <a:rPr lang="en-US" sz="1467"/>
              <a:t>Key contacts (or situation room) available to support any questions during the implementation of chang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6134DC1-9F67-41F6-BCA8-340B27B503AF}"/>
              </a:ext>
            </a:extLst>
          </p:cNvPr>
          <p:cNvSpPr/>
          <p:nvPr/>
        </p:nvSpPr>
        <p:spPr>
          <a:xfrm>
            <a:off x="555009" y="5382601"/>
            <a:ext cx="11081983" cy="6550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/>
              <a:t>Functional leads will be required to sign off that the playbooks contain all relevant information for Day 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DFCF2-6CCA-4B1F-B15A-FC1B32A91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8" y="4792290"/>
            <a:ext cx="243631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AF6406-B3F2-AD48-99A2-24C88CF40A2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16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59A40D-1D6C-4F79-9803-47D34D704E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04" imgH="204" progId="TCLayout.ActiveDocument.1">
                  <p:embed/>
                </p:oleObj>
              </mc:Choice>
              <mc:Fallback>
                <p:oleObj name="think-cell Slide" r:id="rId3" imgW="204" imgH="20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59A40D-1D6C-4F79-9803-47D34D704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0455FD-8E6D-4024-9DAB-28DA8BD0A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ample Playbook Outline - Oper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35B3B4-2C32-438D-84BD-D2EE2FFF0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8" y="4792290"/>
            <a:ext cx="243631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AF6406-B3F2-AD48-99A2-24C88CF40A2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5F755BE-76E1-43D1-BF5E-CFAE2EA14C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Operational Overview of the Sale to </a:t>
            </a:r>
            <a:r>
              <a:rPr lang="en-US" err="1"/>
              <a:t>Stonepeak</a:t>
            </a:r>
            <a:endParaRPr lang="en-US"/>
          </a:p>
          <a:p>
            <a:r>
              <a:rPr lang="en-US"/>
              <a:t>Objectives for Day 1</a:t>
            </a:r>
          </a:p>
          <a:p>
            <a:r>
              <a:rPr lang="en-US"/>
              <a:t>Assumptions</a:t>
            </a:r>
          </a:p>
          <a:p>
            <a:r>
              <a:rPr lang="en-US"/>
              <a:t>Support Model</a:t>
            </a:r>
          </a:p>
          <a:p>
            <a:r>
              <a:rPr lang="en-US"/>
              <a:t>Process</a:t>
            </a:r>
          </a:p>
          <a:p>
            <a:r>
              <a:rPr lang="en-US"/>
              <a:t>Engaging the Sit Room</a:t>
            </a:r>
          </a:p>
          <a:p>
            <a:r>
              <a:rPr lang="en-US"/>
              <a:t>Contacts and Escalation</a:t>
            </a:r>
          </a:p>
          <a:p>
            <a:r>
              <a:rPr lang="en-US"/>
              <a:t>Recording of Playbook Training</a:t>
            </a:r>
          </a:p>
          <a:p>
            <a:r>
              <a:rPr lang="en-US"/>
              <a:t>Version History and Playbook Document Location</a:t>
            </a:r>
          </a:p>
        </p:txBody>
      </p:sp>
    </p:spTree>
    <p:extLst>
      <p:ext uri="{BB962C8B-B14F-4D97-AF65-F5344CB8AC3E}">
        <p14:creationId xmlns:p14="http://schemas.microsoft.com/office/powerpoint/2010/main" val="2492764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BD816C-9CBA-41C3-9675-36F91D5A7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04" imgH="204" progId="TCLayout.ActiveDocument.1">
                  <p:embed/>
                </p:oleObj>
              </mc:Choice>
              <mc:Fallback>
                <p:oleObj name="think-cell Slide" r:id="rId3" imgW="204" imgH="20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BD816C-9CBA-41C3-9675-36F91D5A7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2DE544-90E0-485F-B2E7-47B454A3D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cess Change 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0D7511-F6AE-4135-8713-5FAE8197D4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e process change template is a mechanism for </a:t>
            </a:r>
            <a:r>
              <a:rPr lang="en-US" i="1"/>
              <a:t>summarizing</a:t>
            </a:r>
            <a:r>
              <a:rPr lang="en-US"/>
              <a:t> key processes and procedures detailed in your playbook</a:t>
            </a:r>
          </a:p>
          <a:p>
            <a:r>
              <a:rPr lang="en-US"/>
              <a:t>Using the detail in your playbook the template should be populated for </a:t>
            </a:r>
            <a:r>
              <a:rPr lang="en-US" u="sng"/>
              <a:t>each</a:t>
            </a:r>
            <a:r>
              <a:rPr lang="en-US"/>
              <a:t> area of change in parallel</a:t>
            </a:r>
          </a:p>
          <a:p>
            <a:r>
              <a:rPr lang="en-US"/>
              <a:t>The template will be used to share key changes with business leaders and stakeholders</a:t>
            </a:r>
          </a:p>
          <a:p>
            <a:r>
              <a:rPr lang="en-US" err="1"/>
              <a:t>Stonepeak</a:t>
            </a:r>
            <a:r>
              <a:rPr lang="en-US"/>
              <a:t> will want to review the summa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1915DA-D17C-40E5-9F27-38110639CF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2438" y="4792290"/>
            <a:ext cx="243631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AF6406-B3F2-AD48-99A2-24C88CF40A2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8713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CA1C36-8945-4F11-AB2A-3EFEB66B88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CA1C36-8945-4F11-AB2A-3EFEB66B8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FA12F9C-D656-4078-89AD-E763E85B2B5F}"/>
              </a:ext>
            </a:extLst>
          </p:cNvPr>
          <p:cNvSpPr/>
          <p:nvPr/>
        </p:nvSpPr>
        <p:spPr>
          <a:xfrm>
            <a:off x="320431" y="1320037"/>
            <a:ext cx="11261968" cy="289171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High Level Process Description and Process Flow </a:t>
            </a:r>
            <a:r>
              <a:rPr lang="en-US" sz="1400" i="1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(emphasis on areas of change)</a:t>
            </a:r>
            <a:endParaRPr lang="en-US" sz="1400">
              <a:solidFill>
                <a:prstClr val="white"/>
              </a:solidFill>
              <a:latin typeface="Calibri" panose="020F0502020204030204"/>
              <a:ea typeface="Roboto Light" panose="02000000000000000000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2AD3635-6B1E-4D90-B610-6361BEFB04EA}"/>
              </a:ext>
            </a:extLst>
          </p:cNvPr>
          <p:cNvSpPr txBox="1">
            <a:spLocks/>
          </p:cNvSpPr>
          <p:nvPr/>
        </p:nvSpPr>
        <p:spPr>
          <a:xfrm>
            <a:off x="4421695" y="4023365"/>
            <a:ext cx="3869021" cy="79766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defPPr>
              <a:defRPr lang="en-US"/>
            </a:defPPr>
            <a:lvl1pPr marL="171450" indent="-17145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b="0" i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 Light" panose="02000000000000000000" pitchFamily="2" charset="0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56625" indent="-156625" defTabSz="887378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Columbus Owners:</a:t>
            </a:r>
          </a:p>
          <a:p>
            <a:pPr marL="156625" indent="-156625" defTabSz="887378"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ResCo Owners:</a:t>
            </a:r>
          </a:p>
          <a:p>
            <a:pPr marL="228589" indent="-228589" defTabSz="914354"/>
            <a:endParaRPr lang="en-US" sz="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28B08-679C-495A-ABE7-BAE0FFA54EF0}"/>
              </a:ext>
            </a:extLst>
          </p:cNvPr>
          <p:cNvSpPr/>
          <p:nvPr/>
        </p:nvSpPr>
        <p:spPr>
          <a:xfrm>
            <a:off x="4421695" y="3703785"/>
            <a:ext cx="3869021" cy="289171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Roles &amp; Actors (Key Users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A8298CC-5E2E-4BAA-82D5-43D06129DD3C}"/>
              </a:ext>
            </a:extLst>
          </p:cNvPr>
          <p:cNvSpPr txBox="1">
            <a:spLocks/>
          </p:cNvSpPr>
          <p:nvPr/>
        </p:nvSpPr>
        <p:spPr>
          <a:xfrm>
            <a:off x="355263" y="4013268"/>
            <a:ext cx="4009295" cy="807763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200">
                <a:solidFill>
                  <a:srgbClr val="000000"/>
                </a:solidFill>
                <a:latin typeface="Arial" panose="020B0604020202020204"/>
                <a:cs typeface="+mn-cs"/>
              </a:rPr>
              <a:t>RFM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200">
                <a:solidFill>
                  <a:srgbClr val="000000"/>
                </a:solidFill>
                <a:latin typeface="Arial" panose="020B0604020202020204"/>
                <a:cs typeface="+mn-cs"/>
              </a:rPr>
              <a:t>Ops Console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200">
                <a:solidFill>
                  <a:srgbClr val="000000"/>
                </a:solidFill>
                <a:latin typeface="Arial" panose="020B0604020202020204"/>
                <a:cs typeface="+mn-cs"/>
              </a:rPr>
              <a:t>IAA/Itenti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FC0D4B-86C5-47BE-988B-FBF421817AF9}"/>
              </a:ext>
            </a:extLst>
          </p:cNvPr>
          <p:cNvSpPr/>
          <p:nvPr/>
        </p:nvSpPr>
        <p:spPr>
          <a:xfrm>
            <a:off x="355264" y="3697597"/>
            <a:ext cx="4009293" cy="289171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ystems, Applications &amp; Tools Requi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04297A-D14C-4107-BB0A-E75555FCC428}"/>
              </a:ext>
            </a:extLst>
          </p:cNvPr>
          <p:cNvSpPr txBox="1">
            <a:spLocks/>
          </p:cNvSpPr>
          <p:nvPr/>
        </p:nvSpPr>
        <p:spPr>
          <a:xfrm>
            <a:off x="320432" y="1644039"/>
            <a:ext cx="11244553" cy="1904464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endParaRPr lang="en-US" sz="9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6504CF4-20F7-4B5D-ABF7-AF170C5E95F0}"/>
              </a:ext>
            </a:extLst>
          </p:cNvPr>
          <p:cNvSpPr txBox="1">
            <a:spLocks/>
          </p:cNvSpPr>
          <p:nvPr/>
        </p:nvSpPr>
        <p:spPr>
          <a:xfrm>
            <a:off x="349921" y="5185067"/>
            <a:ext cx="4009295" cy="119828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North America RFM instance has connectivity to LATAM network elements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Associated </a:t>
            </a:r>
            <a:r>
              <a:rPr lang="en-US" sz="1200" err="1">
                <a:solidFill>
                  <a:srgbClr val="000000"/>
                </a:solidFill>
                <a:latin typeface="Arial" panose="020B0604020202020204"/>
                <a:cs typeface="+mn-cs"/>
              </a:rPr>
              <a:t>autoticketing</a:t>
            </a: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 automations like IAA need access to LATAM networ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AB17E9-0817-4B73-94C4-473BD3F41B69}"/>
              </a:ext>
            </a:extLst>
          </p:cNvPr>
          <p:cNvSpPr/>
          <p:nvPr/>
        </p:nvSpPr>
        <p:spPr>
          <a:xfrm>
            <a:off x="357054" y="4848156"/>
            <a:ext cx="4002161" cy="289171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Key Assumptions (Rules of Engagement)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8F965E4-C46B-40E5-934E-AACE00FCDF28}"/>
              </a:ext>
            </a:extLst>
          </p:cNvPr>
          <p:cNvSpPr txBox="1">
            <a:spLocks/>
          </p:cNvSpPr>
          <p:nvPr/>
        </p:nvSpPr>
        <p:spPr>
          <a:xfrm>
            <a:off x="4421695" y="5185069"/>
            <a:ext cx="3869021" cy="119828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TBD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TBD</a:t>
            </a:r>
          </a:p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endParaRPr lang="en-US" sz="9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CA8394-C619-4A15-A970-C0319C7A2F82}"/>
              </a:ext>
            </a:extLst>
          </p:cNvPr>
          <p:cNvSpPr/>
          <p:nvPr/>
        </p:nvSpPr>
        <p:spPr>
          <a:xfrm>
            <a:off x="4423955" y="4858464"/>
            <a:ext cx="3866760" cy="289171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Service Targets &amp; Commitment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7B052-FFDA-4917-A229-F34C2748DFC6}"/>
              </a:ext>
            </a:extLst>
          </p:cNvPr>
          <p:cNvSpPr txBox="1">
            <a:spLocks/>
          </p:cNvSpPr>
          <p:nvPr/>
        </p:nvSpPr>
        <p:spPr>
          <a:xfrm>
            <a:off x="8370555" y="4013269"/>
            <a:ext cx="3211844" cy="2370087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One combined RFM instance, or separate LATAM instance?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 err="1">
                <a:solidFill>
                  <a:srgbClr val="000000"/>
                </a:solidFill>
                <a:latin typeface="Arial" panose="020B0604020202020204"/>
                <a:cs typeface="+mn-cs"/>
              </a:rPr>
              <a:t>Autoticketing</a:t>
            </a: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 capabilities as current?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IAA/</a:t>
            </a:r>
            <a:r>
              <a:rPr lang="en-US" sz="1200" err="1">
                <a:solidFill>
                  <a:srgbClr val="000000"/>
                </a:solidFill>
                <a:latin typeface="Arial" panose="020B0604020202020204"/>
                <a:cs typeface="+mn-cs"/>
              </a:rPr>
              <a:t>Itential</a:t>
            </a: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, other automations available?</a:t>
            </a:r>
          </a:p>
          <a:p>
            <a:pPr marL="156625" indent="-156625" defTabSz="887378">
              <a:lnSpc>
                <a:spcPct val="100000"/>
              </a:lnSpc>
              <a:spcBef>
                <a:spcPts val="0"/>
              </a:spcBef>
              <a:buClr>
                <a:srgbClr val="0067B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  <a:cs typeface="+mn-cs"/>
              </a:rPr>
              <a:t>One combined Ops Console instance, or separate LATAM instance?</a:t>
            </a:r>
          </a:p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endParaRPr lang="en-US" sz="900" b="1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</a:endParaRPr>
          </a:p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endParaRPr lang="en-US" sz="9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4DB131D-AA3B-49B2-8AF5-5467E2BD4242}"/>
              </a:ext>
            </a:extLst>
          </p:cNvPr>
          <p:cNvSpPr/>
          <p:nvPr/>
        </p:nvSpPr>
        <p:spPr>
          <a:xfrm>
            <a:off x="8370555" y="3697601"/>
            <a:ext cx="3211844" cy="289169"/>
          </a:xfrm>
          <a:prstGeom prst="rect">
            <a:avLst/>
          </a:prstGeom>
          <a:solidFill>
            <a:srgbClr val="003B63"/>
          </a:solidFill>
          <a:ln>
            <a:solidFill>
              <a:srgbClr val="003B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en-US" sz="1400">
                <a:solidFill>
                  <a:prstClr val="white"/>
                </a:solidFill>
                <a:latin typeface="Calibri" panose="020F0502020204030204"/>
                <a:ea typeface="Roboto Light" panose="02000000000000000000" pitchFamily="2" charset="0"/>
              </a:rPr>
              <a:t>Escalation Path &amp; Error Handling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9935800" y="332073"/>
          <a:ext cx="2103123" cy="51816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645115">
                  <a:extLst>
                    <a:ext uri="{9D8B030D-6E8A-4147-A177-3AD203B41FA5}">
                      <a16:colId xmlns:a16="http://schemas.microsoft.com/office/drawing/2014/main" val="2286335863"/>
                    </a:ext>
                  </a:extLst>
                </a:gridCol>
                <a:gridCol w="1458008">
                  <a:extLst>
                    <a:ext uri="{9D8B030D-6E8A-4147-A177-3AD203B41FA5}">
                      <a16:colId xmlns:a16="http://schemas.microsoft.com/office/drawing/2014/main" val="2738046577"/>
                    </a:ext>
                  </a:extLst>
                </a:gridCol>
              </a:tblGrid>
              <a:tr h="259080">
                <a:tc>
                  <a:txBody>
                    <a:bodyPr/>
                    <a:lstStyle/>
                    <a:p>
                      <a:pPr algn="r"/>
                      <a:r>
                        <a:rPr lang="en-US" sz="1100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wner: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Lumen - S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18525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r"/>
                      <a:r>
                        <a:rPr lang="en-US" sz="1100" b="1">
                          <a:solidFill>
                            <a:schemeClr val="bg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User: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B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Columbus S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303084"/>
                  </a:ext>
                </a:extLst>
              </a:tr>
            </a:tbl>
          </a:graphicData>
        </a:graphic>
      </p:graphicFrame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E61AE93E-D4CB-432F-BDBA-64D231D2327C}"/>
              </a:ext>
            </a:extLst>
          </p:cNvPr>
          <p:cNvSpPr txBox="1">
            <a:spLocks/>
          </p:cNvSpPr>
          <p:nvPr/>
        </p:nvSpPr>
        <p:spPr>
          <a:xfrm>
            <a:off x="349920" y="6445992"/>
            <a:ext cx="52968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70"/>
            <a:fld id="{16AF6406-B3F2-AD48-99A2-24C88CF40A2E}" type="slidenum">
              <a:rPr lang="en-US" sz="933">
                <a:solidFill>
                  <a:srgbClr val="EEEEEE">
                    <a:lumMod val="50000"/>
                  </a:srgbClr>
                </a:solidFill>
                <a:latin typeface="Arial" panose="020B0604020202020204"/>
              </a:rPr>
              <a:pPr defTabSz="609570"/>
              <a:t>5</a:t>
            </a:fld>
            <a:endParaRPr lang="en-US" sz="933">
              <a:solidFill>
                <a:srgbClr val="EEEEEE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EB8E24B-452C-487B-B03F-2D570E305C2D}"/>
              </a:ext>
            </a:extLst>
          </p:cNvPr>
          <p:cNvSpPr txBox="1">
            <a:spLocks/>
          </p:cNvSpPr>
          <p:nvPr/>
        </p:nvSpPr>
        <p:spPr>
          <a:xfrm>
            <a:off x="609603" y="358572"/>
            <a:ext cx="10972797" cy="83496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US" sz="2400">
                <a:solidFill>
                  <a:srgbClr val="000000"/>
                </a:solidFill>
                <a:latin typeface="Arial" panose="020B0604020202020204"/>
              </a:rPr>
              <a:t>&lt;Functional Area&gt; | &lt;Process ID&gt; Process Nam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EA9267-942B-4D68-9FA9-49087C4A5F12}"/>
              </a:ext>
            </a:extLst>
          </p:cNvPr>
          <p:cNvSpPr txBox="1"/>
          <p:nvPr/>
        </p:nvSpPr>
        <p:spPr>
          <a:xfrm>
            <a:off x="320433" y="1708804"/>
            <a:ext cx="508902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87378">
              <a:buClr>
                <a:srgbClr val="0067B1"/>
              </a:buClr>
            </a:pPr>
            <a:r>
              <a:rPr lang="en-US" sz="1200" b="1">
                <a:solidFill>
                  <a:srgbClr val="000000"/>
                </a:solidFill>
                <a:latin typeface="Arial" panose="020B0604020202020204"/>
              </a:rPr>
              <a:t>NA-EMEA IP: Network Monitoring – “Network Element Experiences a Fault”</a:t>
            </a:r>
          </a:p>
          <a:p>
            <a:pPr marL="156625" indent="-156625" defTabSz="887378">
              <a:buClr>
                <a:srgbClr val="0067B1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</a:rPr>
              <a:t>Network element experiences a fault</a:t>
            </a:r>
          </a:p>
          <a:p>
            <a:pPr marL="156625" indent="-156625" defTabSz="887378">
              <a:buClr>
                <a:srgbClr val="0067B1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</a:rPr>
              <a:t>RFM detects fault</a:t>
            </a:r>
          </a:p>
          <a:p>
            <a:pPr marL="304784" lvl="1" indent="-148159" defTabSz="887378">
              <a:buClr>
                <a:srgbClr val="0067B1"/>
              </a:buClr>
              <a:buFont typeface="Courier New" panose="02070309020205020404" pitchFamily="49" charset="0"/>
              <a:buChar char="o"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</a:rPr>
              <a:t>If automated ticketing enabled, </a:t>
            </a:r>
            <a:r>
              <a:rPr lang="en-US" sz="1200" err="1">
                <a:solidFill>
                  <a:srgbClr val="000000"/>
                </a:solidFill>
                <a:latin typeface="Arial" panose="020B0604020202020204"/>
              </a:rPr>
              <a:t>OpsConsole</a:t>
            </a:r>
            <a:r>
              <a:rPr lang="en-US" sz="1200">
                <a:solidFill>
                  <a:srgbClr val="000000"/>
                </a:solidFill>
                <a:latin typeface="Arial" panose="020B0604020202020204"/>
              </a:rPr>
              <a:t> ticket created in NA IP NOC queue</a:t>
            </a:r>
          </a:p>
          <a:p>
            <a:pPr marL="304784" lvl="1" indent="-148159" defTabSz="887378">
              <a:buClr>
                <a:srgbClr val="0067B1"/>
              </a:buClr>
              <a:buFont typeface="Courier New" panose="02070309020205020404" pitchFamily="49" charset="0"/>
              <a:buChar char="o"/>
            </a:pPr>
            <a:r>
              <a:rPr lang="en-US" sz="1200">
                <a:solidFill>
                  <a:srgbClr val="000000"/>
                </a:solidFill>
                <a:latin typeface="Arial" panose="020B0604020202020204"/>
              </a:rPr>
              <a:t>If not automated, fault displayed on RFM dashboard, NA IP NOC tech picks up and troubleshoots per BAU proces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AAB01BB-1A36-4887-9BA4-EA88AFA174C6}"/>
              </a:ext>
            </a:extLst>
          </p:cNvPr>
          <p:cNvSpPr txBox="1"/>
          <p:nvPr/>
        </p:nvSpPr>
        <p:spPr>
          <a:xfrm>
            <a:off x="5496164" y="2375095"/>
            <a:ext cx="1542475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800" b="1" u="sng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X</a:t>
            </a:r>
          </a:p>
          <a:p>
            <a:pPr algn="ctr" defTabSz="914354"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X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CDBF9DC-3716-4CB1-9583-86E89C48226D}"/>
              </a:ext>
            </a:extLst>
          </p:cNvPr>
          <p:cNvSpPr txBox="1"/>
          <p:nvPr/>
        </p:nvSpPr>
        <p:spPr>
          <a:xfrm>
            <a:off x="7715981" y="2373011"/>
            <a:ext cx="1542475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800" b="1" u="sng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</a:t>
            </a:r>
          </a:p>
          <a:p>
            <a:pPr algn="ctr" defTabSz="914354"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X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8012B40-B0BF-4FB1-B315-1AF1E84F5A4A}"/>
              </a:ext>
            </a:extLst>
          </p:cNvPr>
          <p:cNvSpPr txBox="1"/>
          <p:nvPr/>
        </p:nvSpPr>
        <p:spPr>
          <a:xfrm>
            <a:off x="9935800" y="2373011"/>
            <a:ext cx="1542475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800" b="1" u="sng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</a:t>
            </a:r>
          </a:p>
          <a:p>
            <a:pPr algn="ctr" defTabSz="914354"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X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F50520C6-57BD-40D7-AA50-58556C5420E4}"/>
              </a:ext>
            </a:extLst>
          </p:cNvPr>
          <p:cNvCxnSpPr>
            <a:stCxn id="44" idx="3"/>
            <a:endCxn id="45" idx="1"/>
          </p:cNvCxnSpPr>
          <p:nvPr/>
        </p:nvCxnSpPr>
        <p:spPr>
          <a:xfrm flipV="1">
            <a:off x="7038639" y="2542288"/>
            <a:ext cx="677342" cy="20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4D593F6-822C-435B-9BC7-A41AF1D67231}"/>
              </a:ext>
            </a:extLst>
          </p:cNvPr>
          <p:cNvSpPr txBox="1"/>
          <p:nvPr/>
        </p:nvSpPr>
        <p:spPr>
          <a:xfrm>
            <a:off x="5458121" y="2780766"/>
            <a:ext cx="16811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800" b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XX Form Details:</a:t>
            </a:r>
          </a:p>
          <a:p>
            <a:pPr marL="171442" indent="-171442" defTabSz="914354">
              <a:buFont typeface="Arial" panose="020B0604020202020204" pitchFamily="34" charset="0"/>
              <a:buChar char="•"/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</a:t>
            </a:r>
          </a:p>
          <a:p>
            <a:pPr marL="171442" indent="-171442" defTabSz="914354">
              <a:buFont typeface="Arial" panose="020B0604020202020204" pitchFamily="34" charset="0"/>
              <a:buChar char="•"/>
              <a:defRPr/>
            </a:pPr>
            <a:r>
              <a:rPr lang="en-US" sz="800" b="1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Roboto" panose="02000000000000000000" pitchFamily="2" charset="0"/>
              </a:rPr>
              <a:t>XXX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97F1DBDD-2142-4F0F-B514-8ECC73A6614B}"/>
              </a:ext>
            </a:extLst>
          </p:cNvPr>
          <p:cNvCxnSpPr>
            <a:cxnSpLocks/>
            <a:stCxn id="45" idx="3"/>
            <a:endCxn id="46" idx="1"/>
          </p:cNvCxnSpPr>
          <p:nvPr/>
        </p:nvCxnSpPr>
        <p:spPr>
          <a:xfrm>
            <a:off x="9258456" y="2542288"/>
            <a:ext cx="67734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DD340258-1989-4BE5-AAD4-0FE30AFB94EF}"/>
              </a:ext>
            </a:extLst>
          </p:cNvPr>
          <p:cNvSpPr/>
          <p:nvPr/>
        </p:nvSpPr>
        <p:spPr>
          <a:xfrm>
            <a:off x="7966201" y="2992652"/>
            <a:ext cx="166281" cy="16628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E6736071-639E-4B32-B36D-A16BE28B205A}"/>
              </a:ext>
            </a:extLst>
          </p:cNvPr>
          <p:cNvSpPr txBox="1">
            <a:spLocks/>
          </p:cNvSpPr>
          <p:nvPr/>
        </p:nvSpPr>
        <p:spPr>
          <a:xfrm>
            <a:off x="8049340" y="3011545"/>
            <a:ext cx="1051859" cy="13611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</a:rPr>
              <a:t>Columbus Systems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BF08FD3-136E-4631-95FC-EC60E3ECBEF8}"/>
              </a:ext>
            </a:extLst>
          </p:cNvPr>
          <p:cNvSpPr/>
          <p:nvPr/>
        </p:nvSpPr>
        <p:spPr>
          <a:xfrm>
            <a:off x="9268568" y="2992652"/>
            <a:ext cx="166281" cy="16628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ED67BD3-75FF-4DD3-BB95-8F23488ED936}"/>
              </a:ext>
            </a:extLst>
          </p:cNvPr>
          <p:cNvSpPr txBox="1">
            <a:spLocks/>
          </p:cNvSpPr>
          <p:nvPr/>
        </p:nvSpPr>
        <p:spPr>
          <a:xfrm>
            <a:off x="9360748" y="3011546"/>
            <a:ext cx="1210185" cy="147348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808284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tx2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800">
                <a:solidFill>
                  <a:prstClr val="black"/>
                </a:solidFill>
                <a:latin typeface="Calibri" panose="020F0502020204030204"/>
              </a:rPr>
              <a:t>Lumen ROW System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12A2AD1-A849-4FEE-8698-1ED9EB813D51}"/>
              </a:ext>
            </a:extLst>
          </p:cNvPr>
          <p:cNvGrpSpPr/>
          <p:nvPr/>
        </p:nvGrpSpPr>
        <p:grpSpPr>
          <a:xfrm>
            <a:off x="6267402" y="1734252"/>
            <a:ext cx="2219817" cy="640843"/>
            <a:chOff x="6267400" y="1502807"/>
            <a:chExt cx="2219817" cy="640865"/>
          </a:xfrm>
        </p:grpSpPr>
        <p:cxnSp>
          <p:nvCxnSpPr>
            <p:cNvPr id="58" name="Elbow Connector 83">
              <a:extLst>
                <a:ext uri="{FF2B5EF4-FFF2-40B4-BE49-F238E27FC236}">
                  <a16:creationId xmlns:a16="http://schemas.microsoft.com/office/drawing/2014/main" id="{EB0981E8-4AC2-441C-A500-0FE4A95E9AFE}"/>
                </a:ext>
              </a:extLst>
            </p:cNvPr>
            <p:cNvCxnSpPr>
              <a:stCxn id="45" idx="0"/>
              <a:endCxn id="44" idx="0"/>
            </p:cNvCxnSpPr>
            <p:nvPr/>
          </p:nvCxnSpPr>
          <p:spPr>
            <a:xfrm rot="16200000" flipH="1" flipV="1">
              <a:off x="7376267" y="1032721"/>
              <a:ext cx="2084" cy="2219817"/>
            </a:xfrm>
            <a:prstGeom prst="bentConnector3">
              <a:avLst>
                <a:gd name="adj1" fmla="val -10969290"/>
              </a:avLst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86E29B5-A850-4CC8-ABAF-96C4D0EE74EC}"/>
                </a:ext>
              </a:extLst>
            </p:cNvPr>
            <p:cNvSpPr txBox="1"/>
            <p:nvPr/>
          </p:nvSpPr>
          <p:spPr>
            <a:xfrm>
              <a:off x="6298699" y="1502807"/>
              <a:ext cx="1576252" cy="2154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4">
                <a:defRPr/>
              </a:pPr>
              <a:r>
                <a:rPr lang="en-US" sz="800">
                  <a:solidFill>
                    <a:srgbClr val="FF0000"/>
                  </a:solidFill>
                  <a:latin typeface="Calibri" panose="020F0502020204030204"/>
                  <a:ea typeface="Roboto" panose="02000000000000000000" pitchFamily="2" charset="0"/>
                  <a:cs typeface="Roboto" panose="02000000000000000000" pitchFamily="2" charset="0"/>
                </a:rPr>
                <a:t>___________via XX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5143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BD67B7F5A830499B73097E3837BF18" ma:contentTypeVersion="2" ma:contentTypeDescription="Create a new document." ma:contentTypeScope="" ma:versionID="885b76364154f82eb7916bf3393d42c3">
  <xsd:schema xmlns:xsd="http://www.w3.org/2001/XMLSchema" xmlns:xs="http://www.w3.org/2001/XMLSchema" xmlns:p="http://schemas.microsoft.com/office/2006/metadata/properties" xmlns:ns2="8f35f698-7b9c-48e4-933b-0d06b22f86d0" targetNamespace="http://schemas.microsoft.com/office/2006/metadata/properties" ma:root="true" ma:fieldsID="f8d7e7cfa18776c9f48e004b5740f136" ns2:_="">
    <xsd:import namespace="8f35f698-7b9c-48e4-933b-0d06b22f86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35f698-7b9c-48e4-933b-0d06b22f86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4F6A9C-5A58-4C92-BFBB-6361CF417373}"/>
</file>

<file path=customXml/itemProps2.xml><?xml version="1.0" encoding="utf-8"?>
<ds:datastoreItem xmlns:ds="http://schemas.openxmlformats.org/officeDocument/2006/customXml" ds:itemID="{270189AC-ECFD-489C-8D6D-2458FCD13CA4}"/>
</file>

<file path=customXml/itemProps3.xml><?xml version="1.0" encoding="utf-8"?>
<ds:datastoreItem xmlns:ds="http://schemas.openxmlformats.org/officeDocument/2006/customXml" ds:itemID="{EA907A4F-807C-4903-ABD0-88BE3E95D336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0</Words>
  <Application>Microsoft Office PowerPoint</Application>
  <PresentationFormat>Panorámica</PresentationFormat>
  <Paragraphs>82</Paragraphs>
  <Slides>5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Courier New</vt:lpstr>
      <vt:lpstr>Roboto</vt:lpstr>
      <vt:lpstr>Roboto Light</vt:lpstr>
      <vt:lpstr>Roboto Thin</vt:lpstr>
      <vt:lpstr>Wingdings</vt:lpstr>
      <vt:lpstr>Tema de Office</vt:lpstr>
      <vt:lpstr>think-cell Slide</vt:lpstr>
      <vt:lpstr>Operating Playbook Guidance</vt:lpstr>
      <vt:lpstr>Operating Playbook Guidance</vt:lpstr>
      <vt:lpstr>Sample Playbook Outline - Operations</vt:lpstr>
      <vt:lpstr>Process Change Templat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ng Playbook Guidance</dc:title>
  <dc:creator>Toledo, Elena</dc:creator>
  <cp:lastModifiedBy>Toledo, Elena</cp:lastModifiedBy>
  <cp:revision>1</cp:revision>
  <dcterms:created xsi:type="dcterms:W3CDTF">2021-10-12T13:49:32Z</dcterms:created>
  <dcterms:modified xsi:type="dcterms:W3CDTF">2021-10-12T13:4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BD67B7F5A830499B73097E3837BF18</vt:lpwstr>
  </property>
</Properties>
</file>